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304" r:id="rId1"/>
  </p:sldMasterIdLst>
  <p:notesMasterIdLst>
    <p:notesMasterId r:id="rId21"/>
  </p:notesMasterIdLst>
  <p:handoutMasterIdLst>
    <p:handoutMasterId r:id="rId22"/>
  </p:handoutMasterIdLst>
  <p:sldIdLst>
    <p:sldId id="281" r:id="rId2"/>
    <p:sldId id="257" r:id="rId3"/>
    <p:sldId id="258" r:id="rId4"/>
    <p:sldId id="259" r:id="rId5"/>
    <p:sldId id="260" r:id="rId6"/>
    <p:sldId id="288" r:id="rId7"/>
    <p:sldId id="289" r:id="rId8"/>
    <p:sldId id="290" r:id="rId9"/>
    <p:sldId id="291" r:id="rId10"/>
    <p:sldId id="263" r:id="rId11"/>
    <p:sldId id="265" r:id="rId12"/>
    <p:sldId id="285" r:id="rId13"/>
    <p:sldId id="287" r:id="rId14"/>
    <p:sldId id="266" r:id="rId15"/>
    <p:sldId id="267" r:id="rId16"/>
    <p:sldId id="282" r:id="rId17"/>
    <p:sldId id="283" r:id="rId18"/>
    <p:sldId id="261" r:id="rId19"/>
    <p:sldId id="262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  <p14:sldId id="257"/>
          </p14:sldIdLst>
        </p14:section>
        <p14:section name="Section 1" id="{2A7242DC-929E-4579-8F10-2B02EF80F144}">
          <p14:sldIdLst>
            <p14:sldId id="258"/>
            <p14:sldId id="259"/>
            <p14:sldId id="260"/>
            <p14:sldId id="288"/>
          </p14:sldIdLst>
        </p14:section>
        <p14:section name="Section 3" id="{FD1E6B44-63E4-4285-A079-29EC5D274920}">
          <p14:sldIdLst>
            <p14:sldId id="289"/>
            <p14:sldId id="290"/>
            <p14:sldId id="291"/>
            <p14:sldId id="263"/>
            <p14:sldId id="265"/>
            <p14:sldId id="285"/>
            <p14:sldId id="287"/>
          </p14:sldIdLst>
        </p14:section>
        <p14:section name="Section 4" id="{BD0AB789-343F-4F3E-AB6C-9DEB37B93BF8}">
          <p14:sldIdLst>
            <p14:sldId id="266"/>
            <p14:sldId id="267"/>
          </p14:sldIdLst>
        </p14:section>
        <p14:section name="Section 5" id="{0BFC7D8E-3B14-43D9-B493-FEE6E58FE399}">
          <p14:sldIdLst>
            <p14:sldId id="282"/>
            <p14:sldId id="283"/>
          </p14:sldIdLst>
        </p14:section>
        <p14:section name="Section 2" id="{166B4E13-456F-4DE7-8043-47B198AC9D32}">
          <p14:sldIdLst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BADB"/>
    <a:srgbClr val="0A5F74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8" autoAdjust="0"/>
    <p:restoredTop sz="94660"/>
  </p:normalViewPr>
  <p:slideViewPr>
    <p:cSldViewPr snapToGrid="0" showGuides="1">
      <p:cViewPr>
        <p:scale>
          <a:sx n="60" d="100"/>
          <a:sy n="60" d="100"/>
        </p:scale>
        <p:origin x="1800" y="6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6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6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093484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002607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60420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9045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10315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85088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76703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4453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7E4B25-BC84-45EB-B418-A8EA846039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163BD0-A2F5-40A7-A69C-0FA7071317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FBC13-0F74-4ED8-8177-8C94F698F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47C59-2B69-4EE5-BF6D-E685A88C2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DF9B6D-6A2F-4617-B33B-5BBC512B7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83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0BE44-7681-404B-9E7B-A948D167B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DBB805-2031-4B6C-A12B-1EA2DFDAE1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3C110-7B82-4D96-A6B1-B4D8E94BA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C36580-7FB3-4A71-BE5E-1B82986CE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29499-D899-4C0E-8B4E-39BE00A9A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626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B2ED6B5-8C57-4E58-BB2A-18D4EDED46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9FD9CB-8414-41F8-9256-52432F9F25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CB7F5-D8A1-4CD8-AC07-18CB8E61C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4499D-C36F-410B-8AE7-4B8D08B0F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0E3B1D-4189-4EC9-A6C5-06826C6D0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851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7441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C1E1E-7F10-4F89-BE37-3155A4794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4F634-CA75-4FD4-85AB-7FF1A5EFBB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1F6C66-0903-4CE6-9660-ED65591C5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592C4E-4CCD-4F4C-896B-1AFE067F9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CFFC9A-BDCB-401D-B13E-290A21B7B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260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9A7D0B-49D0-49F5-AFA8-F7B7890BBE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E294E9-C148-4C3B-B0E0-7194D3A24F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6A4377-E32A-4C6A-AA02-1EF434D75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238535-4A39-43CB-A584-B1759C0BB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6AB3B3-ECD6-4D43-AF01-936C5B85C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049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D427D-3D54-4737-ACB0-585F9497A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F2F872-B686-4613-9F97-B06AE04EDC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53F0BF-5B82-4F76-959A-78DC421A36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90AAB1-2249-4A66-A8D9-B7BB5782F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F09749-8437-462D-9B58-60CE4E85E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97AAFE-4FC2-418F-91B6-86DD0C8BA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949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8C146-B883-4ADC-AB37-942C09F14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E9A5D5-7397-4B74-9CB0-5E02AAB095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804BA3-26B3-4848-85E2-94AC66011A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45395B-A5CA-4997-A50E-6D096FB3C3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707480-04C5-469E-AC95-755F6607DB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715CA4-CDE3-4AB8-8022-C4C7BE198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D590E7-3DE9-414D-AD7F-6C14826D7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7F85D6-6057-4674-8A54-55BFD9A12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554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E327AA-6078-4572-8C0C-EEA20C8D8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56D1F5-87AE-43BF-A09C-789C6280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5B2EE3-2067-4D20-8102-A4C50BA4E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41E9A9-062C-4A10-B8EB-FA06B7154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37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A78557-C0BE-451C-8356-A8C51F9D4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6BCE5-2DD4-475E-A37A-5EE65B04C653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991DF6-19F2-4FF0-81CD-87994D12E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BFF83-57D4-4A22-A929-9879FE5AC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75521-559C-4DCD-92B8-3170932EE7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925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81BEC-A7AD-424E-BF44-4D7D897DA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0DB0BB-91A2-4644-A63A-5611A04576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8C212E-0A4F-401A-8256-2F6C21CD2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5A4A3-7E83-4CE0-BDA0-F4A944281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591173-D4B1-4A14-9ADB-19163CFBB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DD9450-AF57-44A5-9A8D-15217293E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678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BC88E-3CE1-4EFB-AB96-E1C5DDFDE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6B908A-8B61-4A9F-9541-E67DD8A31D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A9A29-BB31-496C-BA19-0844F6C956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5C9A79-0F26-4DF9-A612-8CF4BE45E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B00489-9E52-4957-A683-CB1B76D31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14258E-48D2-4D84-9A7F-E9C0BA04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32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019A8-EE69-465D-9670-9A7364AD3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5D5F33-7AB5-480B-B559-1D4856EF28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C19419-3C14-45FD-9F93-D9BA12FAB5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15445C-DF80-4177-A6A6-64D0BE9BA6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86581-354E-4896-A5C3-B9FA2375E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2BB4950-616D-4637-A2C9-64B775F3EC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Slide" r:id="rId17" imgW="451" imgH="450" progId="TCLayout.ActiveDocument.1">
                  <p:embed/>
                </p:oleObj>
              </mc:Choice>
              <mc:Fallback>
                <p:oleObj name="think-cell Slide" r:id="rId17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DA95425-A887-4BC8-B91E-60B41A75B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A12B83F-9991-41A2-B64F-A7CE3EFF042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EBF2B2-15C8-4EC3-83D2-8AC192AEB1BE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27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6" r:id="rId2"/>
    <p:sldLayoutId id="2147484307" r:id="rId3"/>
    <p:sldLayoutId id="2147484308" r:id="rId4"/>
    <p:sldLayoutId id="2147484309" r:id="rId5"/>
    <p:sldLayoutId id="2147484310" r:id="rId6"/>
    <p:sldLayoutId id="2147484311" r:id="rId7"/>
    <p:sldLayoutId id="2147484312" r:id="rId8"/>
    <p:sldLayoutId id="2147484313" r:id="rId9"/>
    <p:sldLayoutId id="2147484314" r:id="rId10"/>
    <p:sldLayoutId id="2147484315" r:id="rId11"/>
    <p:sldLayoutId id="21474843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tags" Target="../tags/tag24.xml"/><Relationship Id="rId7" Type="http://schemas.openxmlformats.org/officeDocument/2006/relationships/image" Target="../media/image9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tags" Target="../tags/tag26.xml"/><Relationship Id="rId7" Type="http://schemas.openxmlformats.org/officeDocument/2006/relationships/image" Target="../media/image9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1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tags" Target="../tags/tag28.xml"/><Relationship Id="rId7" Type="http://schemas.openxmlformats.org/officeDocument/2006/relationships/image" Target="../media/image9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tags" Target="../tags/tag30.xml"/><Relationship Id="rId7" Type="http://schemas.openxmlformats.org/officeDocument/2006/relationships/image" Target="../media/image9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32.xml"/><Relationship Id="rId7" Type="http://schemas.openxmlformats.org/officeDocument/2006/relationships/image" Target="../media/image9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4.xml"/><Relationship Id="rId7" Type="http://schemas.openxmlformats.org/officeDocument/2006/relationships/image" Target="../media/image9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36.xml"/><Relationship Id="rId7" Type="http://schemas.openxmlformats.org/officeDocument/2006/relationships/image" Target="../media/image9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8.xml"/><Relationship Id="rId7" Type="http://schemas.openxmlformats.org/officeDocument/2006/relationships/image" Target="../media/image9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0.xml"/><Relationship Id="rId7" Type="http://schemas.openxmlformats.org/officeDocument/2006/relationships/image" Target="../media/image9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2.xml"/><Relationship Id="rId7" Type="http://schemas.openxmlformats.org/officeDocument/2006/relationships/image" Target="../media/image9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10.png"/><Relationship Id="rId18" Type="http://schemas.openxmlformats.org/officeDocument/2006/relationships/image" Target="../media/image50.png"/><Relationship Id="rId26" Type="http://schemas.openxmlformats.org/officeDocument/2006/relationships/slide" Target="slide10.xml"/><Relationship Id="rId3" Type="http://schemas.openxmlformats.org/officeDocument/2006/relationships/tags" Target="../tags/tag7.xml"/><Relationship Id="rId21" Type="http://schemas.openxmlformats.org/officeDocument/2006/relationships/image" Target="../media/image60.png"/><Relationship Id="rId7" Type="http://schemas.openxmlformats.org/officeDocument/2006/relationships/image" Target="../media/image3.png"/><Relationship Id="rId12" Type="http://schemas.openxmlformats.org/officeDocument/2006/relationships/image" Target="../media/image9.emf"/><Relationship Id="rId17" Type="http://schemas.openxmlformats.org/officeDocument/2006/relationships/slide" Target="slide4.xml"/><Relationship Id="rId25" Type="http://schemas.openxmlformats.org/officeDocument/2006/relationships/image" Target="../media/image14.png"/><Relationship Id="rId2" Type="http://schemas.openxmlformats.org/officeDocument/2006/relationships/tags" Target="../tags/tag6.xml"/><Relationship Id="rId16" Type="http://schemas.openxmlformats.org/officeDocument/2006/relationships/image" Target="../media/image11.png"/><Relationship Id="rId20" Type="http://schemas.openxmlformats.org/officeDocument/2006/relationships/slide" Target="slide5.xml"/><Relationship Id="rId29" Type="http://schemas.openxmlformats.org/officeDocument/2006/relationships/slide" Target="slide1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11" Type="http://schemas.openxmlformats.org/officeDocument/2006/relationships/oleObject" Target="../embeddings/oleObject2.bin"/><Relationship Id="rId24" Type="http://schemas.openxmlformats.org/officeDocument/2006/relationships/image" Target="../media/image120.png"/><Relationship Id="rId32" Type="http://schemas.openxmlformats.org/officeDocument/2006/relationships/image" Target="../media/image150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40.png"/><Relationship Id="rId23" Type="http://schemas.openxmlformats.org/officeDocument/2006/relationships/slide" Target="slide18.xml"/><Relationship Id="rId28" Type="http://schemas.openxmlformats.org/officeDocument/2006/relationships/image" Target="../media/image15.png"/><Relationship Id="rId10" Type="http://schemas.openxmlformats.org/officeDocument/2006/relationships/image" Target="../media/image6.svg"/><Relationship Id="rId19" Type="http://schemas.openxmlformats.org/officeDocument/2006/relationships/image" Target="../media/image12.png"/><Relationship Id="rId31" Type="http://schemas.openxmlformats.org/officeDocument/2006/relationships/image" Target="../media/image16.png"/><Relationship Id="rId4" Type="http://schemas.openxmlformats.org/officeDocument/2006/relationships/tags" Target="../tags/tag8.xml"/><Relationship Id="rId9" Type="http://schemas.openxmlformats.org/officeDocument/2006/relationships/image" Target="../media/image5.png"/><Relationship Id="rId14" Type="http://schemas.openxmlformats.org/officeDocument/2006/relationships/slide" Target="slide3.xml"/><Relationship Id="rId22" Type="http://schemas.openxmlformats.org/officeDocument/2006/relationships/image" Target="../media/image13.png"/><Relationship Id="rId27" Type="http://schemas.openxmlformats.org/officeDocument/2006/relationships/image" Target="../media/image90.png"/><Relationship Id="rId30" Type="http://schemas.openxmlformats.org/officeDocument/2006/relationships/image" Target="../media/image10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7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8.jfi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.xml"/><Relationship Id="rId7" Type="http://schemas.openxmlformats.org/officeDocument/2006/relationships/image" Target="../media/image2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7.jp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">
            <a:extLst>
              <a:ext uri="{FF2B5EF4-FFF2-40B4-BE49-F238E27FC236}">
                <a16:creationId xmlns:a16="http://schemas.microsoft.com/office/drawing/2014/main" id="{4B6032C9-CA65-4D11-9DB3-E4260AE178E3}"/>
              </a:ext>
            </a:extLst>
          </p:cNvPr>
          <p:cNvGrpSpPr/>
          <p:nvPr/>
        </p:nvGrpSpPr>
        <p:grpSpPr>
          <a:xfrm rot="5400000">
            <a:off x="6129048" y="805152"/>
            <a:ext cx="6868104" cy="5257800"/>
            <a:chOff x="0" y="0"/>
            <a:chExt cx="7292791" cy="7468781"/>
          </a:xfrm>
        </p:grpSpPr>
        <p:sp>
          <p:nvSpPr>
            <p:cNvPr id="22" name="Freeform 3">
              <a:extLst>
                <a:ext uri="{FF2B5EF4-FFF2-40B4-BE49-F238E27FC236}">
                  <a16:creationId xmlns:a16="http://schemas.microsoft.com/office/drawing/2014/main" id="{CAF90140-424E-4FE9-A8F1-E1937DB643F2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</p:spPr>
        </p:sp>
      </p:grpSp>
      <p:grpSp>
        <p:nvGrpSpPr>
          <p:cNvPr id="13" name="Group 2">
            <a:extLst>
              <a:ext uri="{FF2B5EF4-FFF2-40B4-BE49-F238E27FC236}">
                <a16:creationId xmlns:a16="http://schemas.microsoft.com/office/drawing/2014/main" id="{D7CE3187-0117-4301-A11B-22205FC6ADD2}"/>
              </a:ext>
            </a:extLst>
          </p:cNvPr>
          <p:cNvGrpSpPr/>
          <p:nvPr/>
        </p:nvGrpSpPr>
        <p:grpSpPr>
          <a:xfrm rot="5400000">
            <a:off x="82871" y="-82871"/>
            <a:ext cx="6868104" cy="7033846"/>
            <a:chOff x="0" y="0"/>
            <a:chExt cx="7292791" cy="7468781"/>
          </a:xfrm>
        </p:grpSpPr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EFD664F6-E132-408C-8689-4F66C971884B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sp>
        <p:nvSpPr>
          <p:cNvPr id="15" name="Freeform 6">
            <a:extLst>
              <a:ext uri="{FF2B5EF4-FFF2-40B4-BE49-F238E27FC236}">
                <a16:creationId xmlns:a16="http://schemas.microsoft.com/office/drawing/2014/main" id="{D115D965-6B7A-4196-9496-67EEAF3C8278}"/>
              </a:ext>
            </a:extLst>
          </p:cNvPr>
          <p:cNvSpPr/>
          <p:nvPr/>
        </p:nvSpPr>
        <p:spPr>
          <a:xfrm>
            <a:off x="6302950" y="1013104"/>
            <a:ext cx="325676" cy="325676"/>
          </a:xfrm>
          <a:custGeom>
            <a:avLst/>
            <a:gdLst/>
            <a:ahLst/>
            <a:cxnLst/>
            <a:rect l="l" t="t" r="r" b="b"/>
            <a:pathLst>
              <a:path w="487795" h="487795">
                <a:moveTo>
                  <a:pt x="0" y="0"/>
                </a:moveTo>
                <a:lnTo>
                  <a:pt x="487795" y="0"/>
                </a:lnTo>
                <a:lnTo>
                  <a:pt x="487795" y="487795"/>
                </a:lnTo>
                <a:lnTo>
                  <a:pt x="0" y="48779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6DFB5834-7946-40DF-875A-2098AC0E89E8}"/>
              </a:ext>
            </a:extLst>
          </p:cNvPr>
          <p:cNvSpPr/>
          <p:nvPr/>
        </p:nvSpPr>
        <p:spPr>
          <a:xfrm>
            <a:off x="671984" y="878726"/>
            <a:ext cx="466924" cy="466924"/>
          </a:xfrm>
          <a:custGeom>
            <a:avLst/>
            <a:gdLst/>
            <a:ahLst/>
            <a:cxnLst/>
            <a:rect l="l" t="t" r="r" b="b"/>
            <a:pathLst>
              <a:path w="699355" h="699355">
                <a:moveTo>
                  <a:pt x="0" y="0"/>
                </a:moveTo>
                <a:lnTo>
                  <a:pt x="699355" y="0"/>
                </a:lnTo>
                <a:lnTo>
                  <a:pt x="699355" y="699355"/>
                </a:lnTo>
                <a:lnTo>
                  <a:pt x="0" y="699355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B42406-1146-411C-988F-90739C5E3194}"/>
              </a:ext>
            </a:extLst>
          </p:cNvPr>
          <p:cNvSpPr txBox="1"/>
          <p:nvPr/>
        </p:nvSpPr>
        <p:spPr>
          <a:xfrm>
            <a:off x="1241955" y="668111"/>
            <a:ext cx="29879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/>
              <a:t>Pres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B660C1-6C1F-4C1D-9FB9-4FDCE3984E24}"/>
              </a:ext>
            </a:extLst>
          </p:cNvPr>
          <p:cNvSpPr txBox="1"/>
          <p:nvPr/>
        </p:nvSpPr>
        <p:spPr>
          <a:xfrm>
            <a:off x="671984" y="4374919"/>
            <a:ext cx="410752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ຄຳບາງ ທອງມີໄຊ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ວະນິດາ ຈຳປາທອງ</a:t>
            </a:r>
            <a:r>
              <a:rPr lang="en-US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                                   </a:t>
            </a:r>
          </a:p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ເສົາວະດີ ພົມມະວົງ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້າວ ວິພະຈັນ ພອນສຳເລັດ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ທ້າວ ໄພທອງ ປັນຍາໄຊ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sz="2000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ນາງ ນິພາພອນ ແກ້ວດວງສີ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endParaRPr lang="en-US" sz="200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E1C3F3-C63A-433E-93C4-7CFBD1A506BA}"/>
              </a:ext>
            </a:extLst>
          </p:cNvPr>
          <p:cNvSpPr txBox="1">
            <a:spLocks/>
          </p:cNvSpPr>
          <p:nvPr/>
        </p:nvSpPr>
        <p:spPr>
          <a:xfrm>
            <a:off x="642249" y="3153337"/>
            <a:ext cx="525780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lo-LA" sz="2400" dirty="0">
                <a:latin typeface="Phetsarath OT" pitchFamily="2" charset="0"/>
                <a:cs typeface="Phetsarath OT" pitchFamily="2" charset="0"/>
              </a:rPr>
              <a:t>ຫົວຂໍ້: ບໍລິສັດ </a:t>
            </a:r>
            <a:r>
              <a:rPr lang="en-US" sz="2400" dirty="0">
                <a:latin typeface="Phetsarath OT" pitchFamily="2" charset="0"/>
                <a:cs typeface="Phetsarath OT" pitchFamily="2" charset="0"/>
              </a:rPr>
              <a:t>BMW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52B1D89-94A7-4DDE-A82F-069A1ACE5E0C}"/>
              </a:ext>
            </a:extLst>
          </p:cNvPr>
          <p:cNvSpPr txBox="1">
            <a:spLocks/>
          </p:cNvSpPr>
          <p:nvPr/>
        </p:nvSpPr>
        <p:spPr>
          <a:xfrm>
            <a:off x="642248" y="2412848"/>
            <a:ext cx="5181599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o-LA" sz="2400" dirty="0">
                <a:latin typeface="Phetsarath OT" pitchFamily="2" charset="0"/>
                <a:cs typeface="Phetsarath OT" pitchFamily="2" charset="0"/>
              </a:rPr>
              <a:t>ສອນໂດຍ: ອາຈານ ແກ້ວລັດດາ ຫຼຽນປະເສີດ.</a:t>
            </a:r>
            <a:endParaRPr kumimoji="0" lang="en-US" sz="2400" i="0" u="none" strike="noStrike" kern="1200" normalizeH="0" baseline="0" noProof="0" dirty="0">
              <a:uLnTx/>
              <a:uFillTx/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19" name="Subtitle 10">
            <a:extLst>
              <a:ext uri="{FF2B5EF4-FFF2-40B4-BE49-F238E27FC236}">
                <a16:creationId xmlns:a16="http://schemas.microsoft.com/office/drawing/2014/main" id="{A95C5D19-B5B5-401D-A51A-08F30962E07D}"/>
              </a:ext>
            </a:extLst>
          </p:cNvPr>
          <p:cNvSpPr txBox="1">
            <a:spLocks/>
          </p:cNvSpPr>
          <p:nvPr/>
        </p:nvSpPr>
        <p:spPr>
          <a:xfrm>
            <a:off x="642249" y="1843376"/>
            <a:ext cx="5181600" cy="381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lo-LA" sz="2400" dirty="0">
                <a:latin typeface="Phetsarath OT" pitchFamily="2" charset="0"/>
                <a:cs typeface="Phetsarath OT" pitchFamily="2" charset="0"/>
              </a:rPr>
              <a:t>ບົດລາຍງານ ວິຊາ: 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Principles of Marketing</a:t>
            </a:r>
            <a:r>
              <a:rPr lang="lo-LA" sz="2000" dirty="0">
                <a:latin typeface="Times New Roman" pitchFamily="18" charset="0"/>
                <a:cs typeface="Times New Roman" pitchFamily="18" charset="0"/>
              </a:rPr>
              <a:t>.</a:t>
            </a:r>
            <a:endParaRPr lang="en-US" sz="2000" dirty="0"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4E898C-90C8-4386-B407-C4C0307401E4}"/>
              </a:ext>
            </a:extLst>
          </p:cNvPr>
          <p:cNvSpPr txBox="1"/>
          <p:nvPr/>
        </p:nvSpPr>
        <p:spPr>
          <a:xfrm>
            <a:off x="178662" y="3856952"/>
            <a:ext cx="1719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Phetsarath OT" pitchFamily="2" charset="0"/>
                <a:cs typeface="Phetsarath OT" pitchFamily="2" charset="0"/>
              </a:rPr>
              <a:t># </a:t>
            </a:r>
            <a:r>
              <a:rPr lang="lo-LA" sz="2400" dirty="0">
                <a:latin typeface="Phetsarath OT" pitchFamily="2" charset="0"/>
                <a:cs typeface="Phetsarath OT" pitchFamily="2" charset="0"/>
              </a:rPr>
              <a:t>ກຸ່ມ</a:t>
            </a:r>
            <a:r>
              <a:rPr lang="en-US" sz="2400" dirty="0">
                <a:latin typeface="Phetsarath OT" pitchFamily="2" charset="0"/>
                <a:cs typeface="Phetsarath OT" pitchFamily="2" charset="0"/>
              </a:rPr>
              <a:t> 1</a:t>
            </a:r>
            <a:r>
              <a:rPr lang="lo-LA" sz="2400" dirty="0">
                <a:latin typeface="Phetsarath OT" pitchFamily="2" charset="0"/>
                <a:cs typeface="Phetsarath OT" pitchFamily="2" charset="0"/>
              </a:rPr>
              <a:t> </a:t>
            </a:r>
            <a:r>
              <a:rPr lang="en-US" sz="2400" dirty="0">
                <a:latin typeface="Times New Roman" pitchFamily="18" charset="0"/>
                <a:cs typeface="Phetsarath OT" pitchFamily="2" charset="0"/>
              </a:rPr>
              <a:t>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Freeform 4">
            <a:extLst>
              <a:ext uri="{FF2B5EF4-FFF2-40B4-BE49-F238E27FC236}">
                <a16:creationId xmlns:a16="http://schemas.microsoft.com/office/drawing/2014/main" id="{99175FDC-859F-4AF1-9EBE-F14E136C813B}"/>
              </a:ext>
            </a:extLst>
          </p:cNvPr>
          <p:cNvSpPr/>
          <p:nvPr/>
        </p:nvSpPr>
        <p:spPr>
          <a:xfrm>
            <a:off x="7571039" y="553311"/>
            <a:ext cx="4622706" cy="5751377"/>
          </a:xfrm>
          <a:custGeom>
            <a:avLst/>
            <a:gdLst/>
            <a:ahLst/>
            <a:cxnLst/>
            <a:rect l="l" t="t" r="r" b="b"/>
            <a:pathLst>
              <a:path w="6614594" h="8229600">
                <a:moveTo>
                  <a:pt x="0" y="0"/>
                </a:moveTo>
                <a:lnTo>
                  <a:pt x="6614594" y="0"/>
                </a:lnTo>
                <a:lnTo>
                  <a:pt x="6614594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10319" b="-10319"/>
            </a:stretch>
          </a:blipFill>
        </p:spPr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19B32E-2D45-4201-9F4E-F711EB2EDF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0958" y="2926350"/>
            <a:ext cx="2562206" cy="25622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">
            <a:extLst>
              <a:ext uri="{FF2B5EF4-FFF2-40B4-BE49-F238E27FC236}">
                <a16:creationId xmlns:a16="http://schemas.microsoft.com/office/drawing/2014/main" id="{1F6CFC29-F278-4FE5-9684-71CFA2632046}"/>
              </a:ext>
            </a:extLst>
          </p:cNvPr>
          <p:cNvGrpSpPr/>
          <p:nvPr/>
        </p:nvGrpSpPr>
        <p:grpSpPr>
          <a:xfrm rot="5400000">
            <a:off x="346919" y="-346919"/>
            <a:ext cx="6868104" cy="7561942"/>
            <a:chOff x="0" y="0"/>
            <a:chExt cx="7292791" cy="7468781"/>
          </a:xfrm>
        </p:grpSpPr>
        <p:sp>
          <p:nvSpPr>
            <p:cNvPr id="25" name="Freeform 3">
              <a:extLst>
                <a:ext uri="{FF2B5EF4-FFF2-40B4-BE49-F238E27FC236}">
                  <a16:creationId xmlns:a16="http://schemas.microsoft.com/office/drawing/2014/main" id="{BE79E2B2-658C-42C2-B3A8-B97ABAC97698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627102" y="1472569"/>
            <a:ext cx="191719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 ການຜະລ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80333" y="2052368"/>
            <a:ext cx="6172200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ຜະລິດລົດຍົນຢູ່ຫລາຍປະເທດເຊັ່ນ: ເຢຍລະມັນ,ອອສເຕຍ,ສະຫະລັດອາເມຣິກາ,ເມັກຊິໂກ,ອາຟຣິກາໃຕ້,ອິນເດຍ,ຈີນ,ເບຣຊິນ. 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ປີ 2011 ລົ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ມານ56% ໃຊ້ນ້ຳມັນແອັດຊັງໃນການຂັບເຄື່ອນ ແລະ 44% ໃຊ້ນ້ຳມັນກາຊວນໃນການຂັບເຄື່ອ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036041" y="441308"/>
            <a:ext cx="4441372" cy="3044110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859688" y="3687362"/>
            <a:ext cx="4476626" cy="304411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91406" y="803252"/>
            <a:ext cx="466634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ສິ່ງແວດລ້ອມພາຍໃນ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1B520B-18CC-468F-B074-D0263F8FE231}"/>
              </a:ext>
            </a:extLst>
          </p:cNvPr>
          <p:cNvSpPr/>
          <p:nvPr/>
        </p:nvSpPr>
        <p:spPr>
          <a:xfrm>
            <a:off x="627102" y="3373918"/>
            <a:ext cx="33265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 ການເງິນ ແລະ ບັນຊີ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ECA265-5F22-4182-A264-CCD4A1585A06}"/>
              </a:ext>
            </a:extLst>
          </p:cNvPr>
          <p:cNvSpPr/>
          <p:nvPr/>
        </p:nvSpPr>
        <p:spPr>
          <a:xfrm>
            <a:off x="780333" y="3847362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ງົບປະມານໃນປິ2017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ລາຍໄດ້8.620 ຕື້ຢູໂຣ,ເຊິ່ງລາຍຮັບປະຈຳປີແມ່ນ 98.678 ຕື້ຢູໂຣ ອັດຕາການເພີ່ມຂຶ້ນ4.8% ທຽບກັບຮອງງົບປະມານທີ່ຜ່ານມາ , ເນື່ອງການບໍລິສັດມີລາຍຮັບມະຫາສານ ຈື່ງໄດ້ມີການຈັດລະບົບແລະບໍລິຫານເປັນຢ່າງດີເພື່ອບໍ່ໃຫ້ເກີດຄວາມຜິດພາດແລະເສຍຫາຍ.</a:t>
            </a:r>
            <a:endParaRPr lang="en-US" sz="20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049327D6-C978-4CAA-BB54-B4B481904724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0A980911-C06B-426E-BA2D-0E9D2C72769A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0158"/>
          <a:stretch/>
        </p:blipFill>
        <p:spPr>
          <a:xfrm>
            <a:off x="508872" y="491366"/>
            <a:ext cx="4531902" cy="2808359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319157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 ຊັບພະຍາກອນມະນຸ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ຄັດເລືອກພະນັກງານທີ່ມີຄຸນນະພາບ ແລະ ມີການວາງແຜນວຽກຕາມໜ້າທີ່ຂອງແຕ່ລະຄົນ ເພື່ອໃຫ້ວຽກດຳເນີນໄປເປັນລະບົບລະບຽບ ແລະ ມີປະສິດທິພາບສູງ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26FE05-01A8-47FE-9AF2-F9B52B38272A}"/>
              </a:ext>
            </a:extLst>
          </p:cNvPr>
          <p:cNvSpPr/>
          <p:nvPr/>
        </p:nvSpPr>
        <p:spPr>
          <a:xfrm>
            <a:off x="5478557" y="3299725"/>
            <a:ext cx="1298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) ທີ່ຕັ້ງ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2C7256-60FB-4210-A976-57E4E84A14AA}"/>
              </a:ext>
            </a:extLst>
          </p:cNvPr>
          <p:cNvSpPr/>
          <p:nvPr/>
        </p:nvSpPr>
        <p:spPr>
          <a:xfrm>
            <a:off x="5447756" y="388505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ສຳນັກງານໃຫຍ່ຕັ້ງຢູ່ໃນເມືອງມິວນິກ ປະເທດເຢຍລະມັນ ແລະ ຍັງມີໂຮງງານຜະລິດ 31 ແຫ່ງ ເຊິ່ງມີສູນນຳເຂົ້າໃນປະເທດລາວແມ່ນ 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Premium Auto Lao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ັ້ງຢູ່ບ້ານໜອງບອນ ,ເມືອງໄຊເສດຖາ,ນະຄອນຫຼວງວຽງຈັນ.ເຟສບຸກ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Laos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 021 455 031ວ໋ອດແອັບ 020 5795 5555</a:t>
            </a:r>
            <a:endParaRPr lang="en-US" sz="2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CF20C3-95AA-46F4-9CC4-91D55EA3A4C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48244" y="3654677"/>
            <a:ext cx="4476626" cy="2737549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7FE5902E-1E6B-4B91-A9CB-69DAC11F0D81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7" name="Freeform 3">
              <a:extLst>
                <a:ext uri="{FF2B5EF4-FFF2-40B4-BE49-F238E27FC236}">
                  <a16:creationId xmlns:a16="http://schemas.microsoft.com/office/drawing/2014/main" id="{9A297EDA-8FFA-4C2C-8EEB-84912382A022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535D3-96DA-44CD-B8B7-FB84E97C72DC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6190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99110" y="419100"/>
            <a:ext cx="4189834" cy="270510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5700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429167" y="635604"/>
            <a:ext cx="602248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 ຄວາມສາມາດໃນການວິໄຈ ແລະ ພັດທະນາ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496774" y="1250556"/>
            <a:ext cx="5887267" cy="15388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ວິໄຈພັດທະນານະວັດຕະກຳໃໝ່ໆທີ່ທັນສະໄໝເຂົ້າໃນການຜະລິດ ໃຫ້ມີຄຸນນະພາບສູງຂຶ້ນ , ມີຄວາມທັນສະໄໝສະດວກສະບາຍໃນການນຳໃຊ້ ເພື່ອຕອບສະໜອງຄວາມຕ້ອງການຂອງລູກຄ້າ ແລະ ມີການວາງແຜນພັດທະນາສິນຄ້າໃຫ້ມີຄວາມທັນສະໄໝເລື້ອຍໆໄປ. 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A20449-7FEA-48B3-8F2B-3AB84DEEC4D0}"/>
              </a:ext>
            </a:extLst>
          </p:cNvPr>
          <p:cNvSpPr/>
          <p:nvPr/>
        </p:nvSpPr>
        <p:spPr>
          <a:xfrm>
            <a:off x="5507595" y="2893367"/>
            <a:ext cx="3179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) ພາບພົດຂອງບໍລິສັ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30BC50-7F50-49C0-B2CB-E9A22B05E2F2}"/>
              </a:ext>
            </a:extLst>
          </p:cNvPr>
          <p:cNvSpPr/>
          <p:nvPr/>
        </p:nvSpPr>
        <p:spPr>
          <a:xfrm>
            <a:off x="5193760" y="3327808"/>
            <a:ext cx="651099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ການສ້າງຄວາມເຊື່ອໝັ້ນເປັນສິ່ງທີ່ຈຳເປັນແລະ ສຳຄັນຫຼາຍ ບໍລິສັດຈຶ່ງໃຊ້ພະນັກງານທີ່ມີປະສົບການ ແລະ ມີຄວາມຊຳນິຊຳນານສູງ.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• ນຳໃຊ້ວັດຖຸດິບທີ່ມີປະສິດທິພາບຜະລິດສິນຄ້າທີ່ໄດ້ມາດຕະຖານ ມີຄຸນນະພາບ.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ມີການບໍລິການທີ່ດີໃຫ້ຄວາມສຳຄັນກັບຄວາມພໍໃຈຂອງລູກຄ້າ ນຳໃຊ້ສື່ອອນລາຍເພື່ອໃຫ້ລູກຄ້າໄດ້ຮູ້ຈັກຫຼາຍຂຶ້ນໂດຍການເຊີນດາລາທີ່ມີຊື່ສຽງມາໂຄສະນາ.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 ເອົາໃຈໃສ່ໃນເລື່ອງການບໍລິການລູກຄ້າໃຫ້ເທົ່າທຽມກັນ ໃຫ້ລູກຄ້າມີຄວາມປະທັບໃຈ , ບອກຕໍ່ ແລະ ກັບມາໃຊ້ບໍລິການອີກ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E7D7813-1AA9-436B-A4E5-1D66B97A08B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981053" y="3124199"/>
            <a:ext cx="3891833" cy="3589484"/>
          </a:xfrm>
          <a:prstGeom prst="ellipse">
            <a:avLst/>
          </a:prstGeom>
          <a:ln>
            <a:noFill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10770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2">
            <a:extLst>
              <a:ext uri="{FF2B5EF4-FFF2-40B4-BE49-F238E27FC236}">
                <a16:creationId xmlns:a16="http://schemas.microsoft.com/office/drawing/2014/main" id="{80187490-5CF4-47E6-95E6-19A11D5F0DAD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5" name="Freeform 3">
              <a:extLst>
                <a:ext uri="{FF2B5EF4-FFF2-40B4-BE49-F238E27FC236}">
                  <a16:creationId xmlns:a16="http://schemas.microsoft.com/office/drawing/2014/main" id="{7CA9BBE1-6A6A-479D-8D0C-E6A860CA7619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EBBA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EBBADB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84536" y="1687377"/>
            <a:ext cx="4531902" cy="4531902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561692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) ລະບົບຂໍ້ມູນຂ່າວສານສຳລັບການຈັດກາ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	 ມີໜ່ວຍງານຄວບຄຸມຢ່າງໜາແໜ້ນບໍ່ໃຫ້ຂໍ້ມູນຂອງບໍລິສັດຮົ່ວໄຫຼອອກໄປພາຍນອກ.  ບໍລິສັດມີການເປີດນຳໃຊ້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acebook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nstagram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ເປັນຊ່ອງທາງການໂປໂມດຜະລິດຕະພັນຂອງບໍລິສັດໃຫ້ຜູ້ຄົນໄດ້ເຂົ້າເຖິງຫຼາຍຂຶ້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4741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2">
            <a:extLst>
              <a:ext uri="{FF2B5EF4-FFF2-40B4-BE49-F238E27FC236}">
                <a16:creationId xmlns:a16="http://schemas.microsoft.com/office/drawing/2014/main" id="{893A6061-CBE1-405D-9EE7-4F114823C6DE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5" name="Freeform 3">
              <a:extLst>
                <a:ext uri="{FF2B5EF4-FFF2-40B4-BE49-F238E27FC236}">
                  <a16:creationId xmlns:a16="http://schemas.microsoft.com/office/drawing/2014/main" id="{5E4B9104-94E5-431C-A353-C097FD565377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ແຂງ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2439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ອ່ອນ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369331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ນຶ່ງໃນຍີ່ຫໍ້ລົດຍົນທີ່ມີລາຄາຫຼາຍທີ່ສຸດໃນໂລກ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ຫຼ່ງລາຍຮັບທີ່ຫຼາກຫຼາຍທາງດ້ານພູມສັນຖາ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ຮ່ວມມືທີ່ສໍາເລັດຜົນໃນປະເທດຈີ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ວິສະວະກໍາທີ່ສົມບູນແບບ ແລະ ມີປະສົບການຂັບລົດທີ່ດີເລີດ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ສາມາດໃນລົດປະສົມ ແລະ ໄຟຟ້າ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ທີ່ຈະແຈ້ງເພື່ອຮັບມືກັບສິ່ງທ້າທາຍ ແລະ ທ່າອ່ຽງໃນອະນາຄົດ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ັກຊັບຍີ່ຫໍ້ລົດຍົນທຸກຢ່າງທີ່ມີຄວາມແຕກຕ່າງຂອງຜະລິດຕະພັນເລັກນ້ອຍ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ດັບໜີ້ສິນເພີ່ມຂຶ້ນ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778A0A-ECB8-404D-9A87-1A95FF8D3C93}"/>
              </a:ext>
            </a:extLst>
          </p:cNvPr>
          <p:cNvGrpSpPr/>
          <p:nvPr/>
        </p:nvGrpSpPr>
        <p:grpSpPr>
          <a:xfrm>
            <a:off x="563789" y="814358"/>
            <a:ext cx="1064986" cy="1004917"/>
            <a:chOff x="563789" y="814358"/>
            <a:chExt cx="1064986" cy="100491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7191FB7-1694-4872-81F9-FE7754259935}"/>
                </a:ext>
              </a:extLst>
            </p:cNvPr>
            <p:cNvSpPr/>
            <p:nvPr/>
          </p:nvSpPr>
          <p:spPr>
            <a:xfrm>
              <a:off x="1173191" y="814358"/>
              <a:ext cx="455584" cy="455584"/>
            </a:xfrm>
            <a:prstGeom prst="ellipse">
              <a:avLst/>
            </a:prstGeom>
            <a:solidFill>
              <a:srgbClr val="8B173E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de-DE" altLang="de-DE" sz="1000" kern="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294286" y="626725"/>
            <a:ext cx="1471016" cy="147101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F3D6E5A-CF89-4056-B116-DFCFF9E6D2D1}"/>
              </a:ext>
            </a:extLst>
          </p:cNvPr>
          <p:cNvSpPr txBox="1"/>
          <p:nvPr/>
        </p:nvSpPr>
        <p:spPr>
          <a:xfrm>
            <a:off x="1388422" y="26799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SWO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>
            <a:extLst>
              <a:ext uri="{FF2B5EF4-FFF2-40B4-BE49-F238E27FC236}">
                <a16:creationId xmlns:a16="http://schemas.microsoft.com/office/drawing/2014/main" id="{81D5F7EE-E994-415F-8B76-3F7E66E5232C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9FA895B1-8ACA-4F2E-A2F3-CE9437624F09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ແຂງ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2439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079B84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ອ່ອນ</a:t>
            </a:r>
            <a:endParaRPr lang="de-DE" altLang="de-DE" sz="2800" spc="300" dirty="0">
              <a:solidFill>
                <a:srgbClr val="079B84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ນຶ່ງໃນຍີ່ຫໍ້ລົດຍົນທີ່ມີຄຸນຄ່າທີ່ສຸດໃນໂລກ 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ຫຼ່ງລາຍຮັບທີ່ຫຼາກຫຼາຍທາງດ້ານພູມສັນຖານ 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ຮ່ວມມືທີ່ສໍາເລັດຜົນໃນປະເທດຈີນ 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ສະວະກໍາທີ່ສົມບູນແບບແລະປະສົບການຂັບລົດທີ່ດີເລີດ 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ສາມາດໃນລົດປະສົມ ແລະ ໄຟຟ້າ </a:t>
            </a:r>
            <a:endParaRPr lang="en-US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ທີ່ຈະແຈ້ງເພື່ອຮັບມືກັບສິ່ງທ້າທາຍ ແລະ ທ່າອ່ຽງໃນອະນາຄົດ</a:t>
            </a:r>
            <a:r>
              <a:rPr lang="en-US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ຜົນງານຍີ່ຫໍ້ລົດຍົນທີ່ບໍ່ດີ ແລະ ມີຄວາມແຕກຕ່າງຂອງຜະລິດຕະພັນເລັກນ້ອຍ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ດັບໜີ້ສິນເພີ່ມຂຶ້ນ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449DC61-55BE-4F91-925A-3C2B4C6D2990}"/>
              </a:ext>
            </a:extLst>
          </p:cNvPr>
          <p:cNvGrpSpPr/>
          <p:nvPr/>
        </p:nvGrpSpPr>
        <p:grpSpPr>
          <a:xfrm>
            <a:off x="5269139" y="917517"/>
            <a:ext cx="901757" cy="901758"/>
            <a:chOff x="5269139" y="917517"/>
            <a:chExt cx="901757" cy="901758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269139" y="917517"/>
              <a:ext cx="901757" cy="901757"/>
            </a:xfrm>
            <a:prstGeom prst="ellipse">
              <a:avLst/>
            </a:prstGeom>
            <a:solidFill>
              <a:srgbClr val="079B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541311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056757"/>
                </a:gs>
                <a:gs pos="100000">
                  <a:srgbClr val="079B84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111543" y="814357"/>
            <a:ext cx="1223457" cy="11022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05195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>
            <a:extLst>
              <a:ext uri="{FF2B5EF4-FFF2-40B4-BE49-F238E27FC236}">
                <a16:creationId xmlns:a16="http://schemas.microsoft.com/office/drawing/2014/main" id="{C100A576-E35D-4A57-A62D-EEC4C12490A5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431C0353-E300-4E92-8C72-B415BCB3B2DA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ອກາດ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1782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ຸປະສັກ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າຄານໍ້າມັນຄາດວ່າຈະເພີ່ມຂຶ້ນໃນອະນາຄົດອັນໃກ້ນີ້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ຕ້ອງການຍານພາຫະນະອັດຕະໂນມັດ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ໃຫ້ອັດຕາແລກປ່ຽນເງິນເອີໂຣອ່ອນລົງ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ລຍະເວລາ ແລະ ຄວາມຖີ່ຂອງການເປີດໂຕລົດລຸ້ນໃຫມ່ ຫືຼ ຮູບແບບໃໝ່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38499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ແຂ່ງຂັນທີ່ເພີ່ມຂຶ້ນໃນຕະຫຼາດລົດຍົນທົ່ວໂລກ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ເພີ່ມລະບຽບການຂອງລັດຖະບານອາດຈະເຮັດໃຫ້ຄ່າໃຊ້ຈ່າຍເພີ່ມຂຶ້ນ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ລົດຍົນຂອງສະຫະລັດມີທ່າອ່ຽງທີ່ຈະຊ້າລົງຫຼືແມ້ກະທັ້ງຫຼຸດລົງ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0CD9039-E5A9-4991-8CAB-26F0E00DD690}"/>
              </a:ext>
            </a:extLst>
          </p:cNvPr>
          <p:cNvGrpSpPr/>
          <p:nvPr/>
        </p:nvGrpSpPr>
        <p:grpSpPr>
          <a:xfrm>
            <a:off x="298714" y="654424"/>
            <a:ext cx="1416423" cy="1416423"/>
            <a:chOff x="298714" y="654424"/>
            <a:chExt cx="1416423" cy="14164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7868658D-F50E-41C9-AB27-6169A0691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298714" y="654424"/>
              <a:ext cx="1416423" cy="1416423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19564389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>
            <a:extLst>
              <a:ext uri="{FF2B5EF4-FFF2-40B4-BE49-F238E27FC236}">
                <a16:creationId xmlns:a16="http://schemas.microsoft.com/office/drawing/2014/main" id="{F82E6AC7-9A5B-49A2-80B3-DBAAEF0A665C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FF90536E-AE50-4D06-ADA9-6670FF637A2B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112691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ອກາດ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1782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079B84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ຸປະສັກ</a:t>
            </a:r>
            <a:endParaRPr lang="de-DE" altLang="de-DE" sz="2800" spc="300" dirty="0">
              <a:solidFill>
                <a:srgbClr val="079B84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138499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າຄານໍ້າມັນຄາດວ່າຈະເພີ່ມຂຶ້ນໃນອະນາຄົດອັນໃກ້ນີ້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ຕ້ອງການຍານພາຫະນະອັດຕະໂນມັດ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ໃຫ້ອັດຕາແລກປ່ຽນເງິນເອີໂຣອ່ອນລົງ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ວລາແລະຄວາມຖີ່ຂອງການປ່ອຍຕົວແບບໃຫມ່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ແຂ່ງຂັນທີ່ເພີ່ມຂຶ້ນໃນຕະຫຼາດລົດຍົນທົ່ວໂລກ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ເພີ່ມລະບຽບການຂອງລັດຖະບານອາດຈະເຮັດໃຫ້ຄ່າໃຊ້ຈ່າຍເພີ່ມຂຶ້ນ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ລົດຍົນຂອງສະຫະລັດມີທ່າອ່ຽງທີ່ຈະຊ້າລົງ ຫຼື ອາດຈະຫຼຸດລົງ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CCB7C-16CD-4845-992E-DE6067D3E39D}"/>
              </a:ext>
            </a:extLst>
          </p:cNvPr>
          <p:cNvGrpSpPr/>
          <p:nvPr/>
        </p:nvGrpSpPr>
        <p:grpSpPr>
          <a:xfrm>
            <a:off x="5269139" y="814358"/>
            <a:ext cx="1064986" cy="1004917"/>
            <a:chOff x="5269139" y="814358"/>
            <a:chExt cx="1064986" cy="100491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7191FB7-1694-4872-81F9-FE7754259935}"/>
                </a:ext>
              </a:extLst>
            </p:cNvPr>
            <p:cNvSpPr/>
            <p:nvPr/>
          </p:nvSpPr>
          <p:spPr>
            <a:xfrm>
              <a:off x="5878541" y="814358"/>
              <a:ext cx="455584" cy="455584"/>
            </a:xfrm>
            <a:prstGeom prst="ellipse">
              <a:avLst/>
            </a:prstGeom>
            <a:solidFill>
              <a:srgbClr val="056757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de-DE" altLang="de-DE" sz="1000" kern="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269139" y="917517"/>
              <a:ext cx="901757" cy="901757"/>
            </a:xfrm>
            <a:prstGeom prst="ellipse">
              <a:avLst/>
            </a:prstGeom>
            <a:solidFill>
              <a:srgbClr val="079B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541311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056757"/>
                </a:gs>
                <a:gs pos="100000">
                  <a:srgbClr val="079B84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111543" y="814357"/>
            <a:ext cx="1223457" cy="11022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97836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>
            <a:extLst>
              <a:ext uri="{FF2B5EF4-FFF2-40B4-BE49-F238E27FC236}">
                <a16:creationId xmlns:a16="http://schemas.microsoft.com/office/drawing/2014/main" id="{912D2F10-BAA8-428F-876A-936C81463C35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0B927768-8769-4ABE-927A-1278C7603FEF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815" t="15906" r="44062" b="2208"/>
          <a:stretch/>
        </p:blipFill>
        <p:spPr>
          <a:xfrm>
            <a:off x="0" y="13118"/>
            <a:ext cx="3069771" cy="6844882"/>
          </a:xfrm>
          <a:prstGeom prst="rect">
            <a:avLst/>
          </a:prstGeom>
          <a:ln>
            <a:noFill/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E333B9B-78EA-4986-BE5A-9275A57EC23E}"/>
              </a:ext>
            </a:extLst>
          </p:cNvPr>
          <p:cNvSpPr txBox="1"/>
          <p:nvPr/>
        </p:nvSpPr>
        <p:spPr>
          <a:xfrm>
            <a:off x="3575956" y="1150257"/>
            <a:ext cx="431074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ຜນໃນອະນາຄົດ</a:t>
            </a:r>
            <a:endParaRPr lang="de-DE" altLang="de-DE" sz="36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D15406-39A4-4F50-BB35-2869B67D72B2}"/>
              </a:ext>
            </a:extLst>
          </p:cNvPr>
          <p:cNvSpPr txBox="1"/>
          <p:nvPr/>
        </p:nvSpPr>
        <p:spPr>
          <a:xfrm>
            <a:off x="3575956" y="2044005"/>
            <a:ext cx="5821137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ຖະແຫຼງການທີ່ເປີດເຜີຍໂດຍກຸ່ມ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ໄດ້ຢືນຢັນແຜນການຂອງຕົນສໍາລັບທັງຍີ່ຫໍ້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Mi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olls Royc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ຫັນເປັນລົດໄຟຟ້າຢ່າງສົມບູນໃນປີ 2030. ຜູ້ຜະລິດລົດໃຫຍ່ຍັງໄດ້ເວົ້າກ່ຽວກັບແຜນການຂອງ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AG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ກ້າວໄປສູ່ອະນາຄົດ. 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ມີ​ແຜນ​ຈະ​ຂາຍ​ລົດ​ໄຟ​ຟ້າ​ໃຫ້​ຄົບ 10 ລ້ານ​ຄັນ​ໃນ​ທົ່ວ​ໂລກ​ພາຍ​ໃນ​ປີ 2030.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2">
            <a:extLst>
              <a:ext uri="{FF2B5EF4-FFF2-40B4-BE49-F238E27FC236}">
                <a16:creationId xmlns:a16="http://schemas.microsoft.com/office/drawing/2014/main" id="{A263ADDC-FE1B-478D-BC99-5D58C6C47768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4F05DF40-C3FA-4C6B-9B9A-8F3766A82D2F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316943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I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	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ະຫຼຸບ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0" y="1869168"/>
            <a:ext cx="4419479" cy="338554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ຮູ້ທີ່ຈະປັບໂຕໃຫ້ເຂົ້າກັບການຕະຫລາດຂອງແຕ່ລະປະເທດເເລະມີກົນລະຍຸດທີ່ຊ່ວຍໃຫ້ປະສົບຄວາມສຳເລັດໄດ້ສ້າງແບຣນໃຫ້ມີສະມັດຖະພາບໃນການຂັບຂີ່ສູງ, ຮັກສາມາດຕະຖານຂອງສິນຄ້າຢູ່ສະໝ່ຳາສະເໝີ ການອອກເເບບກໍມີຄວາມໂດດເດັ່ນເເລະມີເອກະລັກ. ມີການກະຈາຍສິນຄ້າອອກໄປສູ່ປະເທດຕ່າງໆເພື່ອໃຫ້ລູກຄ້າສາມາດເຂົ້າເຖິງໄດ້ງ່າຍ. ນອກຈາກນັ້ນ, ຍັງມີຄວາມຕັ້ງໃຈທີ່ຈະປັບປຸງສິນຄ້າໃຫ້ດີຍິ່ງຂຶ້ນເເລະປັບໂຕໃຫ້ເຂົ້າກັບປັດຈຸບັນເພື່ອໃຫ້ເຂົ້າກັບຄວາມຕ້ອງການຂອງລູກຄ້າ,ສ້າງຄວາມປະທັບໃຈໃຫ້ກັບລູກຄ້າ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048" t="7745" r="32690" b="10369"/>
          <a:stretch/>
        </p:blipFill>
        <p:spPr>
          <a:xfrm>
            <a:off x="-7883" y="13119"/>
            <a:ext cx="6716640" cy="6844882"/>
          </a:xfrm>
          <a:prstGeom prst="rect">
            <a:avLst/>
          </a:prstGeom>
          <a:ln>
            <a:noFill/>
          </a:ln>
        </p:spPr>
      </p:pic>
      <p:sp>
        <p:nvSpPr>
          <p:cNvPr id="11" name="Footnote">
            <a:extLst>
              <a:ext uri="{FF2B5EF4-FFF2-40B4-BE49-F238E27FC236}">
                <a16:creationId xmlns:a16="http://schemas.microsoft.com/office/drawing/2014/main" id="{95510D65-09B5-4F73-9E19-9A5475732DDC}"/>
              </a:ext>
            </a:extLst>
          </p:cNvPr>
          <p:cNvSpPr/>
          <p:nvPr/>
        </p:nvSpPr>
        <p:spPr>
          <a:xfrm>
            <a:off x="7353421" y="412340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">
            <a:extLst>
              <a:ext uri="{FF2B5EF4-FFF2-40B4-BE49-F238E27FC236}">
                <a16:creationId xmlns:a16="http://schemas.microsoft.com/office/drawing/2014/main" id="{5D3301AE-5BC9-4035-9B67-AD5BAF7706DE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27" name="Freeform 3">
              <a:extLst>
                <a:ext uri="{FF2B5EF4-FFF2-40B4-BE49-F238E27FC236}">
                  <a16:creationId xmlns:a16="http://schemas.microsoft.com/office/drawing/2014/main" id="{1E11FD6A-F911-4C38-A99A-036CEE02B3BE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sp>
        <p:nvSpPr>
          <p:cNvPr id="28" name="Freeform 6">
            <a:extLst>
              <a:ext uri="{FF2B5EF4-FFF2-40B4-BE49-F238E27FC236}">
                <a16:creationId xmlns:a16="http://schemas.microsoft.com/office/drawing/2014/main" id="{024908A1-F701-4CB7-9142-618C429E5688}"/>
              </a:ext>
            </a:extLst>
          </p:cNvPr>
          <p:cNvSpPr/>
          <p:nvPr/>
        </p:nvSpPr>
        <p:spPr>
          <a:xfrm>
            <a:off x="6302950" y="1013104"/>
            <a:ext cx="325676" cy="325676"/>
          </a:xfrm>
          <a:custGeom>
            <a:avLst/>
            <a:gdLst/>
            <a:ahLst/>
            <a:cxnLst/>
            <a:rect l="l" t="t" r="r" b="b"/>
            <a:pathLst>
              <a:path w="487795" h="487795">
                <a:moveTo>
                  <a:pt x="0" y="0"/>
                </a:moveTo>
                <a:lnTo>
                  <a:pt x="487795" y="0"/>
                </a:lnTo>
                <a:lnTo>
                  <a:pt x="487795" y="487795"/>
                </a:lnTo>
                <a:lnTo>
                  <a:pt x="0" y="48779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2AB8ED88-2A7D-4006-B8AA-5AFDFFE1F74B}"/>
              </a:ext>
            </a:extLst>
          </p:cNvPr>
          <p:cNvSpPr/>
          <p:nvPr/>
        </p:nvSpPr>
        <p:spPr>
          <a:xfrm>
            <a:off x="671984" y="878726"/>
            <a:ext cx="466924" cy="466924"/>
          </a:xfrm>
          <a:custGeom>
            <a:avLst/>
            <a:gdLst/>
            <a:ahLst/>
            <a:cxnLst/>
            <a:rect l="l" t="t" r="r" b="b"/>
            <a:pathLst>
              <a:path w="699355" h="699355">
                <a:moveTo>
                  <a:pt x="0" y="0"/>
                </a:moveTo>
                <a:lnTo>
                  <a:pt x="699355" y="0"/>
                </a:lnTo>
                <a:lnTo>
                  <a:pt x="699355" y="699355"/>
                </a:lnTo>
                <a:lnTo>
                  <a:pt x="0" y="699355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0596" y="717485"/>
            <a:ext cx="10744200" cy="866648"/>
          </a:xfrm>
        </p:spPr>
        <p:txBody>
          <a:bodyPr numCol="1"/>
          <a:lstStyle/>
          <a:p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ນື້ອໃນສະໄລ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2" name="Slide Zoom 61">
                <a:extLst>
                  <a:ext uri="{FF2B5EF4-FFF2-40B4-BE49-F238E27FC236}">
                    <a16:creationId xmlns:a16="http://schemas.microsoft.com/office/drawing/2014/main" id="{42DB1FFA-0B53-42ED-8177-A5B5402C93F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33652459"/>
                  </p:ext>
                </p:extLst>
              </p:nvPr>
            </p:nvGraphicFramePr>
            <p:xfrm>
              <a:off x="738382" y="2207558"/>
              <a:ext cx="1918447" cy="1079126"/>
            </p:xfrm>
            <a:graphic>
              <a:graphicData uri="http://schemas.microsoft.com/office/powerpoint/2016/slidezoom">
                <pslz:sldZm>
                  <pslz:sldZmObj sldId="258" cId="1577662384">
                    <pslz:zmPr id="{5EBC51F3-00F6-4CD2-A753-7FE3C001F5F7}" returnToParent="0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18447" cy="107912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2" name="Slide Zoom 61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42DB1FFA-0B53-42ED-8177-A5B5402C93F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38382" y="2207558"/>
                <a:ext cx="1918447" cy="107912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4" name="Slide Zoom 63">
                <a:extLst>
                  <a:ext uri="{FF2B5EF4-FFF2-40B4-BE49-F238E27FC236}">
                    <a16:creationId xmlns:a16="http://schemas.microsoft.com/office/drawing/2014/main" id="{EB35C966-D0CD-43A0-8B41-B8E790E8900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80448987"/>
                  </p:ext>
                </p:extLst>
              </p:nvPr>
            </p:nvGraphicFramePr>
            <p:xfrm>
              <a:off x="738383" y="3429000"/>
              <a:ext cx="1918447" cy="1079126"/>
            </p:xfrm>
            <a:graphic>
              <a:graphicData uri="http://schemas.microsoft.com/office/powerpoint/2016/slidezoom">
                <pslz:sldZm>
                  <pslz:sldZmObj sldId="259" cId="2362446551">
                    <pslz:zmPr id="{E427F863-4970-40C6-B362-F428569F777D}" returnToParent="0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18447" cy="107912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4" name="Slide Zoom 63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EB35C966-D0CD-43A0-8B41-B8E790E8900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738383" y="3429000"/>
                <a:ext cx="1918447" cy="107912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6" name="Slide Zoom 65">
                <a:extLst>
                  <a:ext uri="{FF2B5EF4-FFF2-40B4-BE49-F238E27FC236}">
                    <a16:creationId xmlns:a16="http://schemas.microsoft.com/office/drawing/2014/main" id="{8B2816E4-270A-49C1-B4E6-D5F3DC7DD82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02072562"/>
                  </p:ext>
                </p:extLst>
              </p:nvPr>
            </p:nvGraphicFramePr>
            <p:xfrm>
              <a:off x="738383" y="4650442"/>
              <a:ext cx="1918447" cy="1079126"/>
            </p:xfrm>
            <a:graphic>
              <a:graphicData uri="http://schemas.microsoft.com/office/powerpoint/2016/slidezoom">
                <pslz:sldZm>
                  <pslz:sldZmObj sldId="260" cId="676304674">
                    <pslz:zmPr id="{EB244515-A74A-4844-9FC1-16F65E49983F}" returnToParent="0" transitionDur="1000">
                      <p166:blipFill xmlns:p166="http://schemas.microsoft.com/office/powerpoint/2016/6/main">
                        <a:blip r:embed="rId1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18447" cy="107912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6" name="Slide Zoom 65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id="{8B2816E4-270A-49C1-B4E6-D5F3DC7DD82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738383" y="4650442"/>
                <a:ext cx="1918447" cy="107912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8" name="Slide Zoom 67">
                <a:extLst>
                  <a:ext uri="{FF2B5EF4-FFF2-40B4-BE49-F238E27FC236}">
                    <a16:creationId xmlns:a16="http://schemas.microsoft.com/office/drawing/2014/main" id="{2C5C063D-6681-4352-BC0F-0378CF6B1B7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42274985"/>
                  </p:ext>
                </p:extLst>
              </p:nvPr>
            </p:nvGraphicFramePr>
            <p:xfrm>
              <a:off x="8499981" y="3636043"/>
              <a:ext cx="1992768" cy="1120932"/>
            </p:xfrm>
            <a:graphic>
              <a:graphicData uri="http://schemas.microsoft.com/office/powerpoint/2016/slidezoom">
                <pslz:sldZm>
                  <pslz:sldZmObj sldId="261" cId="1763574817">
                    <pslz:zmPr id="{8BC4A5C5-DF1E-4B09-9CD2-B6C70628534B}" returnToParent="0" transitionDur="1000">
                      <p166:blipFill xmlns:p166="http://schemas.microsoft.com/office/powerpoint/2016/6/main">
                        <a:blip r:embed="rId2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92768" cy="11209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8" name="Slide Zoom 67">
                <a:hlinkClick r:id="rId23" action="ppaction://hlinksldjump"/>
                <a:extLst>
                  <a:ext uri="{FF2B5EF4-FFF2-40B4-BE49-F238E27FC236}">
                    <a16:creationId xmlns:a16="http://schemas.microsoft.com/office/drawing/2014/main" id="{2C5C063D-6681-4352-BC0F-0378CF6B1B7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8499981" y="3636043"/>
                <a:ext cx="1992768" cy="11209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2" name="Slide Zoom 71">
                <a:extLst>
                  <a:ext uri="{FF2B5EF4-FFF2-40B4-BE49-F238E27FC236}">
                    <a16:creationId xmlns:a16="http://schemas.microsoft.com/office/drawing/2014/main" id="{F800927D-DAD1-40E5-A2AA-FE6A487DBB6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52499226"/>
                  </p:ext>
                </p:extLst>
              </p:nvPr>
            </p:nvGraphicFramePr>
            <p:xfrm>
              <a:off x="3387145" y="2207558"/>
              <a:ext cx="3405367" cy="1915519"/>
            </p:xfrm>
            <a:graphic>
              <a:graphicData uri="http://schemas.microsoft.com/office/powerpoint/2016/slidezoom">
                <pslz:sldZm>
                  <pslz:sldZmObj sldId="263" cId="3257447938">
                    <pslz:zmPr id="{075D4666-22CC-4442-833E-19D7A299CDA2}" returnToParent="0" transitionDur="1000">
                      <p166:blipFill xmlns:p166="http://schemas.microsoft.com/office/powerpoint/2016/6/main">
                        <a:blip r:embed="rId2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405367" cy="191551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2" name="Slide Zoom 71">
                <a:hlinkClick r:id="rId26" action="ppaction://hlinksldjump"/>
                <a:extLst>
                  <a:ext uri="{FF2B5EF4-FFF2-40B4-BE49-F238E27FC236}">
                    <a16:creationId xmlns:a16="http://schemas.microsoft.com/office/drawing/2014/main" id="{F800927D-DAD1-40E5-A2AA-FE6A487DBB6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3387145" y="2207558"/>
                <a:ext cx="3405367" cy="1915519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6" name="Slide Zoom 85">
                <a:extLst>
                  <a:ext uri="{FF2B5EF4-FFF2-40B4-BE49-F238E27FC236}">
                    <a16:creationId xmlns:a16="http://schemas.microsoft.com/office/drawing/2014/main" id="{28555CF1-D9FB-42E6-9EBE-99A8EB8A7D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77199669"/>
                  </p:ext>
                </p:extLst>
              </p:nvPr>
            </p:nvGraphicFramePr>
            <p:xfrm>
              <a:off x="7368989" y="2207558"/>
              <a:ext cx="1992768" cy="1120932"/>
            </p:xfrm>
            <a:graphic>
              <a:graphicData uri="http://schemas.microsoft.com/office/powerpoint/2016/slidezoom">
                <pslz:sldZm>
                  <pslz:sldZmObj sldId="266" cId="4210990816">
                    <pslz:zmPr id="{03ED704B-B7F7-4064-9471-6355681C41D1}" returnToParent="0" transitionDur="1000">
                      <p166:blipFill xmlns:p166="http://schemas.microsoft.com/office/powerpoint/2016/6/main">
                        <a:blip r:embed="rId2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92768" cy="11209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6" name="Slide Zoom 85">
                <a:hlinkClick r:id="rId29" action="ppaction://hlinksldjump"/>
                <a:extLst>
                  <a:ext uri="{FF2B5EF4-FFF2-40B4-BE49-F238E27FC236}">
                    <a16:creationId xmlns:a16="http://schemas.microsoft.com/office/drawing/2014/main" id="{28555CF1-D9FB-42E6-9EBE-99A8EB8A7D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7368989" y="2207558"/>
                <a:ext cx="1992768" cy="11209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0" name="Slide Zoom 89">
                <a:extLst>
                  <a:ext uri="{FF2B5EF4-FFF2-40B4-BE49-F238E27FC236}">
                    <a16:creationId xmlns:a16="http://schemas.microsoft.com/office/drawing/2014/main" id="{297A7E91-DE71-43CC-808D-DFF2D252BCA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55431702"/>
                  </p:ext>
                </p:extLst>
              </p:nvPr>
            </p:nvGraphicFramePr>
            <p:xfrm>
              <a:off x="9561904" y="2207558"/>
              <a:ext cx="1992768" cy="1120932"/>
            </p:xfrm>
            <a:graphic>
              <a:graphicData uri="http://schemas.microsoft.com/office/powerpoint/2016/slidezoom">
                <pslz:sldZm>
                  <pslz:sldZmObj sldId="282" cId="1956438914">
                    <pslz:zmPr id="{DAA5592A-7403-4675-8B30-08312AF041CB}" returnToParent="0" transitionDur="1000">
                      <p166:blipFill xmlns:p166="http://schemas.microsoft.com/office/powerpoint/2016/6/main">
                        <a:blip r:embed="rId3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92768" cy="11209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0" name="Slide Zoom 89">
                <a:hlinkClick r:id="rId29" action="ppaction://hlinksldjump"/>
                <a:extLst>
                  <a:ext uri="{FF2B5EF4-FFF2-40B4-BE49-F238E27FC236}">
                    <a16:creationId xmlns:a16="http://schemas.microsoft.com/office/drawing/2014/main" id="{297A7E91-DE71-43CC-808D-DFF2D252BCA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9561904" y="2207558"/>
                <a:ext cx="1992768" cy="11209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tags r:id="rId2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>
            <a:extLst>
              <a:ext uri="{FF2B5EF4-FFF2-40B4-BE49-F238E27FC236}">
                <a16:creationId xmlns:a16="http://schemas.microsoft.com/office/drawing/2014/main" id="{F1437EBC-D379-4C65-ACC8-AD6E6D3B3CCD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5" name="Freeform 3">
              <a:extLst>
                <a:ext uri="{FF2B5EF4-FFF2-40B4-BE49-F238E27FC236}">
                  <a16:creationId xmlns:a16="http://schemas.microsoft.com/office/drawing/2014/main" id="{9AD1F3D9-3102-414A-9962-59666921D61B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4400788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4508475" y="702130"/>
            <a:ext cx="6691086" cy="56496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4753617" y="852266"/>
            <a:ext cx="5420703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857250" indent="-857250">
              <a:buFont typeface="+mj-lt"/>
              <a:buAutoNum type="romanUcPeriod"/>
            </a:pP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 ແລະ ການຕະຫຼາ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endParaRPr lang="de-DE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4753617" y="2779678"/>
            <a:ext cx="5623334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ຈັດຈຳໜ່າຍຕາມສູນລົດທີ່ເປັນສາຂາຂອງບໍລິສັ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ລົງໂຄສະນາຜ່ານສື່ອອນລາຍ ເວບໄຊ້ຕ່າງໆເພື່ອໃຫ້ລູກຄ້າ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າມາດສຶກສາຂໍ້ມູນກ່ອນຊື້ໄດ້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2B79ED-5414-44B7-8D36-9A729B86CBB8}"/>
              </a:ext>
            </a:extLst>
          </p:cNvPr>
          <p:cNvSpPr txBox="1"/>
          <p:nvPr/>
        </p:nvSpPr>
        <p:spPr>
          <a:xfrm>
            <a:off x="4753617" y="4596117"/>
            <a:ext cx="5451813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ຊ້ທຸກຊ່ອງທາງການຕະຫຼາດບໍ່ວ່າຈະເປັນຕາມສູນລົ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ື່ອອນລາຍ, ໂຄສະນາທາງໂທລະພາບ, ໜັງສືພິມ ການເຊີນຄົນ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ມີຊື່ສຽງມາຊ່ວຍໂຄສະນາ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74FD1B-7B06-4342-8E4D-1428B24DC75B}"/>
              </a:ext>
            </a:extLst>
          </p:cNvPr>
          <p:cNvSpPr/>
          <p:nvPr/>
        </p:nvSpPr>
        <p:spPr>
          <a:xfrm>
            <a:off x="4668318" y="2107567"/>
            <a:ext cx="13468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 ຕະຫຼາດ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A34A89-ECBD-4AD4-BF76-21E2C18D6592}"/>
              </a:ext>
            </a:extLst>
          </p:cNvPr>
          <p:cNvSpPr/>
          <p:nvPr/>
        </p:nvSpPr>
        <p:spPr>
          <a:xfrm>
            <a:off x="4668318" y="3869765"/>
            <a:ext cx="18421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7980A0-D5B4-4CE1-8EDE-60BABD7E28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240" y="2260047"/>
            <a:ext cx="4120314" cy="217162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3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2">
            <a:extLst>
              <a:ext uri="{FF2B5EF4-FFF2-40B4-BE49-F238E27FC236}">
                <a16:creationId xmlns:a16="http://schemas.microsoft.com/office/drawing/2014/main" id="{D16699C6-0FA7-4CFF-BEA6-1C5F3D878AAA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2428B11B-BC37-4B30-96B5-BB1D89E32A19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77A7E661-2E2D-4893-9016-D7442B0C9F62}"/>
              </a:ext>
            </a:extLst>
          </p:cNvPr>
          <p:cNvSpPr/>
          <p:nvPr/>
        </p:nvSpPr>
        <p:spPr>
          <a:xfrm>
            <a:off x="4333882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8EFCCC-30AF-494D-B61A-5BD2C0B4D77B}"/>
              </a:ext>
            </a:extLst>
          </p:cNvPr>
          <p:cNvSpPr/>
          <p:nvPr/>
        </p:nvSpPr>
        <p:spPr>
          <a:xfrm>
            <a:off x="4441568" y="137653"/>
            <a:ext cx="7219489" cy="65876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4C4DD1-00EF-435A-9BB3-D537A4D9D6D5}"/>
              </a:ext>
            </a:extLst>
          </p:cNvPr>
          <p:cNvSpPr txBox="1"/>
          <p:nvPr/>
        </p:nvSpPr>
        <p:spPr>
          <a:xfrm>
            <a:off x="4735872" y="190320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ຫວັດຄວາມເປັນມາ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90AA03-3CF4-4713-B5BE-F9F299AD2635}"/>
              </a:ext>
            </a:extLst>
          </p:cNvPr>
          <p:cNvSpPr txBox="1"/>
          <p:nvPr/>
        </p:nvSpPr>
        <p:spPr>
          <a:xfrm>
            <a:off x="4333882" y="819925"/>
            <a:ext cx="7024107" cy="58477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ຜູ້ສ້າງຕັ້ງຜູ້ທຳອິດແມ່ນ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arl Friedrich Rapp 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ຊື່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app-Motorenwerk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ດືອນຕຸລາ ປີ ຄສ 1913 ເປັນຊ່ວງສົງຄາມທີ່ໄດ້ກຳໄລຈາກການສ້າງເຮືອບິນມາຈຳໜ່າຍແລະເກີດຜົນກະທົບ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6 ບໍລິສັດເກືອບຖືກຍຶດສາເຫດດ້ານການເງິນ, ດີຂຶ້ນຈາກຜົນການສັ່ງຊື້ດ້ານສົງຄາມຈາກຣັດເຊຍຈຶ່ງຊອກຫາຜູ້ຮ່ວມຫຸ້ນຫຼາຍທ່ານເ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ran Josef Popp, Camillo Castiglio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ຖືກເປີດໂຕເປັນທາງການໃນຊື່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(Bayerische Motoren Werke)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ນທີ7/3/1916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7 ໄດ້ປະດິດໂລໂກ້ຂຶ້ນ ສີຟ້າ ແລະ ສີຂາວ ຕາມທຸງຂອງບາວາເຣຍລັດທີ່ໃຫຍ່ທີ່ສຸດ ນະຄອນຫຼວງມິວນິກ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3 ສ້າງລົດຈັກຄັນທຳອິດເຂົ້າສູ່ຕະຫຼາດຈຳໜ່າຍມີ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32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ຍເປັນແບຣນໃຫຍ່ທີ່ເປັນທີ່ນິຍົມ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8 ສ້າງລົດໃຫຍ່ຄັນມຳອິດ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3/15 P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ງສົງຄາມໂລກ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ືກຖິ້ມລະເບີດລົງບໍລິສັດເຢຍລະມັນຈຶ່ງຖືກຫ້າມບໍ່ໃຫ້ຜະລິດລົດຍົນ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47 ເລີ່ມກັບມາຜະລິດໃໝ່ ໄດ້ຊື້ກິດຈະການຂອງ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Land Rover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Mi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ປີດສູນການຄ້າທຳອິດ ປີ ຄສ 1994 ມີຊື່ສຽງໂດ່ງດັງເປັນທີ່ນິຍົມທົ່ວໂລກ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99 ລົດ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SUV (Sports Utility Vehicle)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ືກສ້າງຂຶ້ນມີ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X5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4146F1-0D42-45FE-ADFB-AD4D300888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401" y="619433"/>
            <a:ext cx="4155638" cy="561913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2">
            <a:extLst>
              <a:ext uri="{FF2B5EF4-FFF2-40B4-BE49-F238E27FC236}">
                <a16:creationId xmlns:a16="http://schemas.microsoft.com/office/drawing/2014/main" id="{1F82E643-0AE6-424D-8208-C391EC4358B9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D28AA52C-5C3F-4DC6-99A0-36942D7F7BBB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702130"/>
            <a:ext cx="6691086" cy="56496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08654" y="85226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ປະສົງທີເລືອກທຸລະກິ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FC1C53-BBA9-4B86-801B-194C3D71B1B5}"/>
              </a:ext>
            </a:extLst>
          </p:cNvPr>
          <p:cNvSpPr txBox="1"/>
          <p:nvPr/>
        </p:nvSpPr>
        <p:spPr>
          <a:xfrm>
            <a:off x="4608654" y="2314411"/>
            <a:ext cx="6173646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ມີຄວາມຕັ້ງໃຈທີ່ຈະສ້າງສິນຄ້າທີ່ອຳນວຍຄວາມສະດວກ ແລະ ມີຄວາມປອດໄພສູງ ເພື່ອໃຫ້ລູກຄ້າທີ່ມາໃຊ້ບໍລິການສາມາດໄວ້ວາງໃຈ ແລະ ເພີດເພີນກັບລົດທີ່ມີຄວາມທັນສະໄໝ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E85166-FE9C-485C-A545-F4F41673CF51}"/>
              </a:ext>
            </a:extLst>
          </p:cNvPr>
          <p:cNvSpPr txBox="1"/>
          <p:nvPr/>
        </p:nvSpPr>
        <p:spPr>
          <a:xfrm>
            <a:off x="4608655" y="4340730"/>
            <a:ext cx="6173646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ສຶກສາຂໍ້ມູນໃນການເລີ່ມທຸລະກິດ ແລະ ຍຸດທະວິທີໃນການບໍລິຫານບໍລິສັດຂອງພວກເຂົາ ຖອດຖອນບົດຮຽນໃນການດຳເນີນທຸລະກິດເພື່ອເປັນແຮງບັນດານໃຈໃຫ້ແກ່ຜູ້ສຶກສາ ສາມາດພັດທະນາຄວາມຮູ້ຄວາມສາມາດ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523355" y="1716478"/>
            <a:ext cx="29338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ຈຸດປະສົງທາງທຸລະກິດ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523355" y="3721901"/>
            <a:ext cx="30524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ຈຸດປະສົງຂອງການສຶກສ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C38453-FB45-4A73-8A04-76D51BF2D8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216" y="1586753"/>
            <a:ext cx="4040095" cy="303007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">
            <a:extLst>
              <a:ext uri="{FF2B5EF4-FFF2-40B4-BE49-F238E27FC236}">
                <a16:creationId xmlns:a16="http://schemas.microsoft.com/office/drawing/2014/main" id="{4B6D1331-95B6-46EA-8936-8A8FB4938AA9}"/>
              </a:ext>
            </a:extLst>
          </p:cNvPr>
          <p:cNvGrpSpPr/>
          <p:nvPr/>
        </p:nvGrpSpPr>
        <p:grpSpPr>
          <a:xfrm rot="5400000">
            <a:off x="2661948" y="-2661948"/>
            <a:ext cx="6868104" cy="12192000"/>
            <a:chOff x="0" y="0"/>
            <a:chExt cx="7292791" cy="7468781"/>
          </a:xfrm>
        </p:grpSpPr>
        <p:sp>
          <p:nvSpPr>
            <p:cNvPr id="22" name="Freeform 3">
              <a:extLst>
                <a:ext uri="{FF2B5EF4-FFF2-40B4-BE49-F238E27FC236}">
                  <a16:creationId xmlns:a16="http://schemas.microsoft.com/office/drawing/2014/main" id="{F9877A9E-F14C-4027-8E95-43E8DBE49A09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226142"/>
            <a:ext cx="6691086" cy="65049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21155" y="383793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V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່ວນປະສົມຂອງການຕະຫຼາດ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621155" y="863531"/>
            <a:ext cx="19704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ຜະລິດຕະພັນ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621155" y="1576485"/>
            <a:ext cx="11256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ລາຄ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A94C1D-5AEB-4E11-8779-3C3EB02BCACD}"/>
              </a:ext>
            </a:extLst>
          </p:cNvPr>
          <p:cNvSpPr/>
          <p:nvPr/>
        </p:nvSpPr>
        <p:spPr>
          <a:xfrm>
            <a:off x="4615513" y="3353979"/>
            <a:ext cx="319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. ຊ່ອງທາງການຈັດຈຳໜ່າຍ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7C4A67-7022-4A4F-BC16-59AD8602C040}"/>
              </a:ext>
            </a:extLst>
          </p:cNvPr>
          <p:cNvSpPr/>
          <p:nvPr/>
        </p:nvSpPr>
        <p:spPr>
          <a:xfrm>
            <a:off x="4672864" y="5042076"/>
            <a:ext cx="31133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. ການສົ່ງເສີມ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A784A-30CD-4393-A5DE-BEC191E8EC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20174" y="1089273"/>
            <a:ext cx="4663608" cy="27981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2D937E-F618-403C-A661-62A8D1D81A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09123" y="2890242"/>
            <a:ext cx="4632478" cy="347435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DC20311-FA22-4E52-9358-9CAF5D01C37E}"/>
              </a:ext>
            </a:extLst>
          </p:cNvPr>
          <p:cNvSpPr/>
          <p:nvPr/>
        </p:nvSpPr>
        <p:spPr>
          <a:xfrm>
            <a:off x="1372485" y="3100734"/>
            <a:ext cx="1478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BMW 3 serie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90B6B1-FD81-4175-9D31-D878929CAA3F}"/>
              </a:ext>
            </a:extLst>
          </p:cNvPr>
          <p:cNvSpPr/>
          <p:nvPr/>
        </p:nvSpPr>
        <p:spPr>
          <a:xfrm>
            <a:off x="1663244" y="5503741"/>
            <a:ext cx="1497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MW X Ser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287D02-2A23-44B4-ADF3-0ECDF5668128}"/>
              </a:ext>
            </a:extLst>
          </p:cNvPr>
          <p:cNvSpPr/>
          <p:nvPr/>
        </p:nvSpPr>
        <p:spPr>
          <a:xfrm>
            <a:off x="4672864" y="2072860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ໄດ້ວາງຕຳແໜ່ງຕົວເອງໃຫ້ເປັນແບຣນລົດຫ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ຼູ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າໂດຍຕະຫລອດ. ແລະ ການກຳນົດລາຄາເປັ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ໜຶ່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ງໃນປັດໄຈສຳຄັນໃນການວາງກົນລະຍຸດທີ່ສົມບູນແບ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່ວນລາຄາຂອງລົດນັ້ນແມ່ນແຕກຕ່າງກັນໄປຕາມ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ຸດອາໄຫລ່ລົ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ຸ່ນຂອງ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56A330-141E-4211-946F-6E4BFB2F1086}"/>
              </a:ext>
            </a:extLst>
          </p:cNvPr>
          <p:cNvSpPr/>
          <p:nvPr/>
        </p:nvSpPr>
        <p:spPr>
          <a:xfrm>
            <a:off x="4672864" y="3854173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ັດຈຸບ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ກະຈາຍໂຮງງານຜະລິດໄປເຖິ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1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ວ່າ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ການຕະຫຼາດແບບປະສົມປະສານຂອ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ືການເຂົ້າຫາຕົວແທນຈໍາໜ່າຍຂອງບໍລິສັດໃນທົ່ວໂລກ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ົວແທນຈໍາໜ່າຍລົດລະດັບພຣີມຽມອື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ໆ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11910F-C584-449C-8404-B02458D4C078}"/>
              </a:ext>
            </a:extLst>
          </p:cNvPr>
          <p:cNvSpPr/>
          <p:nvPr/>
        </p:nvSpPr>
        <p:spPr>
          <a:xfrm>
            <a:off x="4585405" y="5530713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ເພດອອກຕາມໜັງສືພິມວາລະສ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ໃບປິວຂອງທາງບໍລິສ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ຄສະນາຜ່ານສື່ອອນໄລນ໌ເຊັ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: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ໂທລະສັ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ລະພາ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ີກຢ່າ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ຍັງມີຂໍ້ສະເໜີສໍາລັບລູກຄ້າທີ່ມີເງິນບໍ່ພຽງພໍສາມາດຜ່ອນຈ່າຍເປັນງວດໄດ້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5CF2CB-8753-4054-989C-26F5BBDBCBE1}"/>
              </a:ext>
            </a:extLst>
          </p:cNvPr>
          <p:cNvSpPr/>
          <p:nvPr/>
        </p:nvSpPr>
        <p:spPr>
          <a:xfrm>
            <a:off x="4390580" y="1259160"/>
            <a:ext cx="29033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ອ້າງອີງຕາມຮູບທີ1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2.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8070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8AE8E622-EEB9-42C3-A3E7-D0C9E18D42B2}"/>
              </a:ext>
            </a:extLst>
          </p:cNvPr>
          <p:cNvGrpSpPr/>
          <p:nvPr/>
        </p:nvGrpSpPr>
        <p:grpSpPr>
          <a:xfrm rot="5400000">
            <a:off x="346919" y="-346919"/>
            <a:ext cx="6868104" cy="7561942"/>
            <a:chOff x="0" y="0"/>
            <a:chExt cx="7292791" cy="7468781"/>
          </a:xfrm>
        </p:grpSpPr>
        <p:sp>
          <p:nvSpPr>
            <p:cNvPr id="27" name="Freeform 3">
              <a:extLst>
                <a:ext uri="{FF2B5EF4-FFF2-40B4-BE49-F238E27FC236}">
                  <a16:creationId xmlns:a16="http://schemas.microsoft.com/office/drawing/2014/main" id="{EFB944F3-6D58-4494-8AAE-C93C000CA99E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1406" y="1579423"/>
            <a:ext cx="2361224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ປະຊາກອນສາ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1406" y="2191188"/>
            <a:ext cx="5616902" cy="15388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ລົ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ຕອບໂຈດລູກຄ້າຫຼາຍກຸ່ມເພາະມີຫຼາກຫຼາຍຮູບແບບເໝາະກັບທຸກເພດທຸກໄວໃຫ້ລູກຄ້າທຸກຄົນໄດ້ເລືອກ, ປີ 2021 ໄດ້ເປີດລົດລຸ້ນໃໝ່ລ່າສຸ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iX Flo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ັນສະໃໝ່ຮັບປະກັນຄວາມປອດໄພປ່ຽນສີໄດ້3ສີ ດຳ, ເທົາ, ຂາວຈາກການກົດປຸ່ມ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144747" y="377182"/>
            <a:ext cx="4352854" cy="3264641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48895"/>
          <a:stretch/>
        </p:blipFill>
        <p:spPr>
          <a:xfrm>
            <a:off x="6934286" y="4341556"/>
            <a:ext cx="2032164" cy="1635034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44687" y="990873"/>
            <a:ext cx="521456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ສິ່ງແວດລ້ອມພາຍນນອກ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59A42B-B48B-49FD-9D45-1D0F23922C7F}"/>
              </a:ext>
            </a:extLst>
          </p:cNvPr>
          <p:cNvSpPr/>
          <p:nvPr/>
        </p:nvSpPr>
        <p:spPr>
          <a:xfrm>
            <a:off x="591406" y="3884419"/>
            <a:ext cx="19527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ເສດຖະກ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2821D8-A159-4CCE-A101-3F7C5BB3FDBB}"/>
              </a:ext>
            </a:extLst>
          </p:cNvPr>
          <p:cNvSpPr/>
          <p:nvPr/>
        </p:nvSpPr>
        <p:spPr>
          <a:xfrm>
            <a:off x="544687" y="446974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ຜົນຢ່າງສູງຈາກສາເຫດເສດຖະກິດຕົກຕ່ຳບໍລິສັດຂາດທຶ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0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ຕ່ໜ້ອຍກວ່າທີ່ນັກວິເຄາະໄດ້ຄາດການໄວ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68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ແກ້ໄຂໂດຍການຫຼຸດການຜະລິດລົ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8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ເວລາເຮັດວຽກພະນັກງ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26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ົ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0B87F2-EDB1-4E72-9EC9-758909EA0D59}"/>
              </a:ext>
            </a:extLst>
          </p:cNvPr>
          <p:cNvSpPr/>
          <p:nvPr/>
        </p:nvSpPr>
        <p:spPr>
          <a:xfrm>
            <a:off x="148394" y="220878"/>
            <a:ext cx="74959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57250" indent="-857250">
              <a:buFont typeface="+mj-lt"/>
              <a:buAutoNum type="romanUcPeriod" startAt="5"/>
            </a:pPr>
            <a:r>
              <a:rPr lang="en-US" sz="36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ສະພາບແວດລ້ອມ</a:t>
            </a:r>
            <a:r>
              <a:rPr lang="lo-LA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ການຕະຫຼາດ</a:t>
            </a:r>
            <a:endParaRPr lang="en-US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4E64AE4-36C0-4D69-B100-BE516033699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8442936" y="2953734"/>
            <a:ext cx="3254841" cy="1992582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83539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">
            <a:extLst>
              <a:ext uri="{FF2B5EF4-FFF2-40B4-BE49-F238E27FC236}">
                <a16:creationId xmlns:a16="http://schemas.microsoft.com/office/drawing/2014/main" id="{2594A54C-C467-4502-A67C-CBFBF90F6E70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4" name="Freeform 3">
              <a:extLst>
                <a:ext uri="{FF2B5EF4-FFF2-40B4-BE49-F238E27FC236}">
                  <a16:creationId xmlns:a16="http://schemas.microsoft.com/office/drawing/2014/main" id="{C77ED0B1-F06C-45C4-95A4-406CBA953908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9461"/>
          <a:stretch/>
        </p:blipFill>
        <p:spPr>
          <a:xfrm>
            <a:off x="1283412" y="3636909"/>
            <a:ext cx="3917788" cy="2797492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1296562" y="534544"/>
            <a:ext cx="3804546" cy="289445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5C58B569-9D4A-4F4D-B6F6-728FC502B3CB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DE689A-8141-44CF-BEA3-E8EAE8161AC6}"/>
              </a:ext>
            </a:extLst>
          </p:cNvPr>
          <p:cNvSpPr txBox="1"/>
          <p:nvPr/>
        </p:nvSpPr>
        <p:spPr>
          <a:xfrm>
            <a:off x="5513836" y="743469"/>
            <a:ext cx="308097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ຮູບແບບການແຂ່ງຂັ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CCFD14-9E35-4DA9-9D26-1451B02936C6}"/>
              </a:ext>
            </a:extLst>
          </p:cNvPr>
          <p:cNvSpPr txBox="1"/>
          <p:nvPr/>
        </p:nvSpPr>
        <p:spPr>
          <a:xfrm>
            <a:off x="5544392" y="1354418"/>
            <a:ext cx="5987487" cy="215443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ເຖິງວ່າຈະມີຄູ່ແຂ່ງຫຼາຍແຕ່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ກໍຍັງຢູ່ອັນດັບ 1 ໃນຕະຫຼາດລົດຫຼູ ໃຊ້ກົນລະຍຸດໂດຍເລີ່ມຈາກສ້າງຄຸນນະພາບລົດໃຫ້ສົມກັບລາຄາ, ອອກແບບໃຫ້ເໝາະສົມກັບກຸ່ມເປົ້າໝາຍ ເຊັ່ນ ລົດຍົນລຸ້ນ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X7 xDrive30d M Sport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າຄາ  5999000 ບາດ ເຊິ່ງລາຄາຖືກກວ່າລຸ້ນເກົ່າທີ່ນຳເຂົ້າໃນປີ2019 ລາຄາ 8999000 ບາດ ມີການສື່ສານກັບລູກຄ້າແບບທັນສະໄໝ, ມີບໍລິການການເງິນຕອບໂຈດລູກຄ້າ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B58D71-D7D3-4268-859D-27651AB8A90E}"/>
              </a:ext>
            </a:extLst>
          </p:cNvPr>
          <p:cNvSpPr/>
          <p:nvPr/>
        </p:nvSpPr>
        <p:spPr>
          <a:xfrm>
            <a:off x="5494605" y="3686102"/>
            <a:ext cx="3225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ັງຄົມ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ດທະນະທຳ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316E14-C47D-4C5D-ACCC-6C528C9FC6E6}"/>
              </a:ext>
            </a:extLst>
          </p:cNvPr>
          <p:cNvSpPr/>
          <p:nvPr/>
        </p:nvSpPr>
        <p:spPr>
          <a:xfrm>
            <a:off x="5455513" y="4310233"/>
            <a:ext cx="59874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ິດຈະກຳການຕະຫຼາດທາງບໍລິສັດແຕ່ລະປະເທດແຕກຕ່າງກັ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ເຮົາກໍຈະປັບປ່ຽນກິດຈະກຳ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ບໍລິກ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ແບບການຂາຍໄປຕາມຄວາມມັກແລະແທດເໝາະກັບຖານລູກຄ້າແຕ່ລະ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8606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BEE93B17-52AA-458F-B687-C4EBDAAEECCC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6C46663D-B33F-489E-9375-156BC1D6BC38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395815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4694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096000" y="6191169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49196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0032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912787" y="142578"/>
            <a:ext cx="2959538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5" y="6503461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0974" y="635604"/>
            <a:ext cx="370934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ການເມືອງ ແລະ ກົດໝາຍ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0974" y="1207927"/>
            <a:ext cx="6206490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ມີໃບທະບຽນຂໍອະນຸມັດດໍາເນີນທຸລະກິດ, ມີການເສຍພາສີອາກອນການນຳ ເຂົ້າ-ສົ່ງອອກ ຂອງສິນຄ້າໃນແຕ່ລະເດືອນ, ຮັບຜິດຊອບຕໍ່ພະນັກງານ-ລູກຈ້າງ ໂດຍການຈ່າຍເງິນເດືອນ ແລະ ເຄົາລົບສິດພື້ນຖາ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C395E4-8D81-4100-BF4E-D3799ED77DCC}"/>
              </a:ext>
            </a:extLst>
          </p:cNvPr>
          <p:cNvSpPr/>
          <p:nvPr/>
        </p:nvSpPr>
        <p:spPr>
          <a:xfrm>
            <a:off x="5424630" y="2160872"/>
            <a:ext cx="18309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ຕັກໂນໂລຢີ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860289-1265-4A9E-86FF-7CB3C4549256}"/>
              </a:ext>
            </a:extLst>
          </p:cNvPr>
          <p:cNvSpPr/>
          <p:nvPr/>
        </p:nvSpPr>
        <p:spPr>
          <a:xfrm>
            <a:off x="5500974" y="2676113"/>
            <a:ext cx="620649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dirty="0"/>
              <a:t>  </a:t>
            </a:r>
            <a:r>
              <a:rPr lang="en-US" dirty="0"/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້າງປະສິດທິພາບສູງສຸດທີ່ອັດຕາການສິ້ນເປືອງພະລັງງານໜ້ອຍທີ່ສຸ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ຶ່ງນຳເອົາເທັກໂນໂລຢີໃໝ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ໆ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ປັນຈຳນວນຫຼາຍເຂົ້າມາໃຊ້ກັບຕົວຖັງລົດຄື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ບົບຂັບເຄື່ອ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ປຈົນເຖິງລະບົບຊ່ວຍເຫຼືອຜູ້ຂັບຂີ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ນຳໜັກເບົ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ປືອງນ້ຳ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9A5B72-33F7-4930-A55C-7E0BCFF6E192}"/>
              </a:ext>
            </a:extLst>
          </p:cNvPr>
          <p:cNvSpPr/>
          <p:nvPr/>
        </p:nvSpPr>
        <p:spPr>
          <a:xfrm>
            <a:off x="5504940" y="3999386"/>
            <a:ext cx="35012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.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ິ່ງແວດລ້ອມທາງທຳມະຊ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5B95E9-36C0-4BB7-9C33-EF756B6B134B}"/>
              </a:ext>
            </a:extLst>
          </p:cNvPr>
          <p:cNvSpPr/>
          <p:nvPr/>
        </p:nvSpPr>
        <p:spPr>
          <a:xfrm>
            <a:off x="5496288" y="4447887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ບັດເຕີຣີສຳລັບລົດໄຟຟ້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0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Neu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lass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ຕົ້ນທຶນ50%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CO2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າກແບບເກົ່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;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egen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Leather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ໜັງວີແກ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ຈາກເສັ້ນໃຍພືດຈາກຕົ້ນກະບອງເພັດຫຸ້ມພວງມາໄລຣີໄຊເຄິລໄ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 100%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ຍດູ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ໄດ້ຜ່ານການຟອກ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ກີດນ້ຳເສຍໃນການບຳບ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85%.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2DF9587-B1BA-414D-B3B6-0EDBB5A2487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290540" y="2336800"/>
            <a:ext cx="2959538" cy="2160654"/>
          </a:xfrm>
          <a:prstGeom prst="ellipse">
            <a:avLst/>
          </a:prstGeom>
          <a:ln>
            <a:solidFill>
              <a:schemeClr val="bg2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C20FE0F-891B-4858-82FE-BA8DA93B798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2009865" y="4304543"/>
            <a:ext cx="2886712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58390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41</TotalTime>
  <Words>1897</Words>
  <Application>Microsoft Office PowerPoint</Application>
  <PresentationFormat>Widescreen</PresentationFormat>
  <Paragraphs>147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Calibri</vt:lpstr>
      <vt:lpstr>Calibri Light</vt:lpstr>
      <vt:lpstr>Phetsarath OT</vt:lpstr>
      <vt:lpstr>Segoe UI Black</vt:lpstr>
      <vt:lpstr>Segoe UI Semibold</vt:lpstr>
      <vt:lpstr>Times New Roman</vt:lpstr>
      <vt:lpstr>Wingdings</vt:lpstr>
      <vt:lpstr>Office Theme</vt:lpstr>
      <vt:lpstr>think-cell Slide</vt:lpstr>
      <vt:lpstr>PowerPoint Presentation</vt:lpstr>
      <vt:lpstr>ເນື້ອໃນສະໄລ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owen phadavanh</cp:lastModifiedBy>
  <cp:revision>141</cp:revision>
  <dcterms:created xsi:type="dcterms:W3CDTF">2018-05-09T07:34:30Z</dcterms:created>
  <dcterms:modified xsi:type="dcterms:W3CDTF">2023-06-12T06:4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